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15"/>
  </p:notesMasterIdLst>
  <p:handoutMasterIdLst>
    <p:handoutMasterId r:id="rId16"/>
  </p:handoutMasterIdLst>
  <p:sldIdLst>
    <p:sldId id="1229" r:id="rId2"/>
    <p:sldId id="1322" r:id="rId3"/>
    <p:sldId id="1326" r:id="rId4"/>
    <p:sldId id="1327" r:id="rId5"/>
    <p:sldId id="1328" r:id="rId6"/>
    <p:sldId id="1329" r:id="rId7"/>
    <p:sldId id="1330" r:id="rId8"/>
    <p:sldId id="1323" r:id="rId9"/>
    <p:sldId id="1331" r:id="rId10"/>
    <p:sldId id="1332" r:id="rId11"/>
    <p:sldId id="1333" r:id="rId12"/>
    <p:sldId id="1334" r:id="rId13"/>
    <p:sldId id="1335" r:id="rId14"/>
  </p:sldIdLst>
  <p:sldSz cx="9906000" cy="6858000" type="A4"/>
  <p:notesSz cx="6794500" cy="9931400"/>
  <p:custShowLst>
    <p:custShow name="Custom Show 1" id="0">
      <p:sldLst/>
    </p:custShow>
  </p:custShowLst>
  <p:custDataLst>
    <p:tags r:id="rId1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211" autoAdjust="0"/>
    <p:restoredTop sz="95252" autoAdjust="0"/>
  </p:normalViewPr>
  <p:slideViewPr>
    <p:cSldViewPr>
      <p:cViewPr>
        <p:scale>
          <a:sx n="103" d="100"/>
          <a:sy n="103" d="100"/>
        </p:scale>
        <p:origin x="-1808" y="-152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notesMaster" Target="notesMasters/notesMaster1.xml"/><Relationship Id="rId16" Type="http://schemas.openxmlformats.org/officeDocument/2006/relationships/handoutMaster" Target="handoutMasters/handoutMaster1.xml"/><Relationship Id="rId17" Type="http://schemas.openxmlformats.org/officeDocument/2006/relationships/printerSettings" Target="printerSettings/printerSettings1.bin"/><Relationship Id="rId18" Type="http://schemas.openxmlformats.org/officeDocument/2006/relationships/tags" Target="tags/tag1.xml"/><Relationship Id="rId1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17/8/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17/8/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915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smtClean="0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 smtClean="0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smtClean="0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hyperlink" Target="mailto:Jan.skorpik@mpsv.cz" TargetMode="External"/><Relationship Id="rId3" Type="http://schemas.openxmlformats.org/officeDocument/2006/relationships/hyperlink" Target="mailto:marek.suchomel@mpsv.cz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4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5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6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7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632520" y="3645024"/>
            <a:ext cx="9001249" cy="2923877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Recent reforms of the Czech pension </a:t>
            </a:r>
            <a:r>
              <a:rPr lang="en-US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ystem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cs-CZ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Jan </a:t>
            </a:r>
            <a:r>
              <a:rPr lang="cs-CZ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Škorpík </a:t>
            </a:r>
            <a:r>
              <a:rPr lang="en-US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&amp;</a:t>
            </a:r>
            <a:r>
              <a:rPr lang="cs-CZ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 Marek </a:t>
            </a:r>
            <a:r>
              <a:rPr lang="cs-CZ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uchomel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it-IT" altLang="zh-CN" sz="24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Beijing 29 </a:t>
            </a:r>
            <a:r>
              <a:rPr lang="it-IT" altLang="zh-CN" sz="24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ugust </a:t>
            </a:r>
            <a:r>
              <a:rPr lang="it-IT" altLang="zh-CN" sz="24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2017</a:t>
            </a:r>
            <a:endParaRPr lang="cs-CZ" sz="2400" b="1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近期捷克养老金制度</a:t>
            </a:r>
            <a:r>
              <a:rPr lang="zh-CN" altLang="en-US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改革</a:t>
            </a:r>
            <a:endParaRPr lang="cs-CZ" sz="2400" b="1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zh-CN" altLang="zh-CN" sz="2400" b="1" dirty="0"/>
              <a:t>斯科尔皮克·杨</a:t>
            </a:r>
            <a:r>
              <a:rPr lang="zh-CN" altLang="zh-CN" sz="2400" dirty="0"/>
              <a:t> </a:t>
            </a:r>
            <a:r>
              <a:rPr lang="en-US" altLang="zh-CN" sz="2400" dirty="0" smtClean="0"/>
              <a:t>&amp;</a:t>
            </a:r>
            <a:r>
              <a:rPr lang="zh-CN" altLang="en-US" sz="2400" dirty="0" smtClean="0"/>
              <a:t> </a:t>
            </a:r>
            <a:r>
              <a:rPr lang="zh-CN" altLang="zh-CN" sz="2400" b="1" dirty="0" smtClean="0"/>
              <a:t>舒眉尔</a:t>
            </a:r>
            <a:r>
              <a:rPr lang="zh-CN" altLang="zh-CN" sz="2400" b="1" dirty="0"/>
              <a:t>·马雷克</a:t>
            </a:r>
            <a:r>
              <a:rPr lang="zh-CN" altLang="zh-CN" sz="2400" dirty="0"/>
              <a:t> </a:t>
            </a: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US" altLang="zh-CN" sz="2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017</a:t>
            </a:r>
            <a:r>
              <a:rPr lang="zh-CN" altLang="en-US" sz="2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年</a:t>
            </a:r>
            <a:r>
              <a:rPr lang="en-US" altLang="zh-CN" sz="2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8</a:t>
            </a:r>
            <a:r>
              <a:rPr lang="zh-CN" altLang="en-US" sz="2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月</a:t>
            </a:r>
            <a:r>
              <a:rPr lang="en-US" altLang="zh-CN" sz="2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9</a:t>
            </a:r>
            <a:r>
              <a:rPr lang="zh-CN" altLang="en-US" sz="20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日，北京</a:t>
            </a:r>
            <a:endParaRPr lang="it-IT" sz="2000" kern="0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488" y="692696"/>
            <a:ext cx="9355103" cy="79406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ew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ules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early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s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ince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2008       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cs-CZ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</a:t>
            </a: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08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以来提前退休养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老金的新规则</a:t>
            </a:r>
            <a:endParaRPr lang="cs-CZ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arabicPeriod" startAt="2"/>
            </a:pP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imed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t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reasing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lexibility in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ividual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tirement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rangments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viding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sincentive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early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tirement</a:t>
            </a:r>
            <a:endParaRPr lang="cs-CZ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旨在提高个人退休安排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的灵活性，并为提前退休提供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激励</a:t>
            </a:r>
            <a:endParaRPr lang="en-US" altLang="zh-CN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cs-CZ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endParaRPr lang="cs-CZ" sz="22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endParaRPr lang="cs-CZ" sz="22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endParaRPr lang="cs-CZ" sz="22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buClr>
                <a:schemeClr val="tx2"/>
              </a:buClr>
              <a:buSzPct val="103000"/>
              <a:buFont typeface="+mj-lt"/>
              <a:buAutoNum type="arabicPeriod" startAt="3"/>
            </a:pP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riod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early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tirement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ing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reased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rom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3 to 5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ears</a:t>
            </a:r>
            <a:endParaRPr lang="cs-CZ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 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提前退休期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由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3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提高至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5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</a:t>
            </a:r>
            <a:endParaRPr lang="cs-CZ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buClr>
                <a:schemeClr val="tx2"/>
              </a:buClr>
              <a:buSzPct val="103000"/>
              <a:buFont typeface="+mj-lt"/>
              <a:buAutoNum type="arabicPeriod" startAt="4"/>
            </a:pP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ull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tential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eriod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5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ears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early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tirement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ill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ached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radually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– minimum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ge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early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tirement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60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cs-CZ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退休年龄将逐步全面提前</a:t>
            </a: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5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，最低退休年龄为</a:t>
            </a: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60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岁</a:t>
            </a:r>
            <a:endParaRPr lang="cs-CZ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buClr>
                <a:schemeClr val="tx2"/>
              </a:buClr>
              <a:buSzPct val="103000"/>
              <a:buFont typeface="+mj-lt"/>
              <a:buAutoNum type="arabicPeriod" startAt="5"/>
            </a:pP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ules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lightly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ightened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2011 (period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361 – 720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ays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early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tirement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  </a:t>
            </a:r>
            <a:r>
              <a:rPr lang="en-US" altLang="zh-TW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1</a:t>
            </a:r>
            <a:r>
              <a:rPr lang="zh-TW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的规定略有收紧</a:t>
            </a:r>
            <a:r>
              <a:rPr lang="en-US" altLang="zh-TW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361 - 720</a:t>
            </a:r>
            <a:r>
              <a:rPr lang="zh-TW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天的提前退休期</a:t>
            </a:r>
            <a:r>
              <a:rPr lang="en-US" altLang="zh-TW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  <a:endParaRPr lang="cs-CZ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endParaRPr lang="cs-CZ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 startAt="5"/>
            </a:pPr>
            <a:endParaRPr lang="cs-CZ" sz="22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cs-CZ" dirty="0" smtClean="0"/>
              <a:t>Early </a:t>
            </a:r>
            <a:r>
              <a:rPr lang="cs-CZ" dirty="0" err="1" smtClean="0"/>
              <a:t>pensions</a:t>
            </a:r>
            <a:r>
              <a:rPr lang="cs-CZ" dirty="0" smtClean="0"/>
              <a:t>     </a:t>
            </a:r>
            <a:r>
              <a:rPr lang="zh-CN" altLang="en-US" dirty="0" smtClean="0"/>
              <a:t>提前退休人群的养老金</a:t>
            </a:r>
            <a:endParaRPr lang="it-IT" dirty="0"/>
          </a:p>
        </p:txBody>
      </p:sp>
      <p:grpSp>
        <p:nvGrpSpPr>
          <p:cNvPr id="90" name="Skupina 89"/>
          <p:cNvGrpSpPr/>
          <p:nvPr/>
        </p:nvGrpSpPr>
        <p:grpSpPr>
          <a:xfrm>
            <a:off x="275437" y="2780928"/>
            <a:ext cx="9360000" cy="1569720"/>
            <a:chOff x="0" y="0"/>
            <a:chExt cx="10118725" cy="1569720"/>
          </a:xfrm>
        </p:grpSpPr>
        <p:grpSp>
          <p:nvGrpSpPr>
            <p:cNvPr id="91" name="Skupina 90"/>
            <p:cNvGrpSpPr/>
            <p:nvPr/>
          </p:nvGrpSpPr>
          <p:grpSpPr>
            <a:xfrm>
              <a:off x="0" y="0"/>
              <a:ext cx="10118725" cy="1569720"/>
              <a:chOff x="0" y="-4338"/>
              <a:chExt cx="10118725" cy="1570248"/>
            </a:xfrm>
          </p:grpSpPr>
          <p:grpSp>
            <p:nvGrpSpPr>
              <p:cNvPr id="93" name="Skupina 92"/>
              <p:cNvGrpSpPr/>
              <p:nvPr/>
            </p:nvGrpSpPr>
            <p:grpSpPr>
              <a:xfrm>
                <a:off x="0" y="457200"/>
                <a:ext cx="10118725" cy="390525"/>
                <a:chOff x="0" y="0"/>
                <a:chExt cx="10118725" cy="390525"/>
              </a:xfrm>
            </p:grpSpPr>
            <p:grpSp>
              <p:nvGrpSpPr>
                <p:cNvPr id="113" name="Skupina 112"/>
                <p:cNvGrpSpPr/>
                <p:nvPr/>
              </p:nvGrpSpPr>
              <p:grpSpPr>
                <a:xfrm>
                  <a:off x="626745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74" name="Obdélník 173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7030A0">
                      <a:alpha val="50000"/>
                    </a:srgbClr>
                  </a:solidFill>
                  <a:ln>
                    <a:solidFill>
                      <a:srgbClr val="7030A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75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14" name="Skupina 113"/>
                <p:cNvGrpSpPr/>
                <p:nvPr/>
              </p:nvGrpSpPr>
              <p:grpSpPr>
                <a:xfrm>
                  <a:off x="675640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72" name="Obdélník 171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7030A0">
                      <a:alpha val="50000"/>
                    </a:srgb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73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15" name="Skupina 114"/>
                <p:cNvGrpSpPr/>
                <p:nvPr/>
              </p:nvGrpSpPr>
              <p:grpSpPr>
                <a:xfrm>
                  <a:off x="773430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70" name="Obdélník 169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7030A0">
                      <a:alpha val="50000"/>
                    </a:srgbClr>
                  </a:solidFill>
                  <a:ln>
                    <a:solidFill>
                      <a:srgbClr val="7030A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71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16" name="Skupina 115"/>
                <p:cNvGrpSpPr/>
                <p:nvPr/>
              </p:nvGrpSpPr>
              <p:grpSpPr>
                <a:xfrm>
                  <a:off x="724535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68" name="Obdélník 167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7030A0">
                      <a:alpha val="50000"/>
                    </a:srgbClr>
                  </a:solidFill>
                  <a:ln>
                    <a:solidFill>
                      <a:srgbClr val="7030A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69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17" name="Skupina 116"/>
                <p:cNvGrpSpPr/>
                <p:nvPr/>
              </p:nvGrpSpPr>
              <p:grpSpPr>
                <a:xfrm>
                  <a:off x="822325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66" name="Obdélník 165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chemeClr val="accent1">
                      <a:alpha val="5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67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18" name="Skupina 117"/>
                <p:cNvGrpSpPr/>
                <p:nvPr/>
              </p:nvGrpSpPr>
              <p:grpSpPr>
                <a:xfrm>
                  <a:off x="869950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64" name="Obdélník 163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chemeClr val="accent1">
                      <a:alpha val="5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65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19" name="Skupina 118"/>
                <p:cNvGrpSpPr/>
                <p:nvPr/>
              </p:nvGrpSpPr>
              <p:grpSpPr>
                <a:xfrm>
                  <a:off x="916305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62" name="Obdélník 161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chemeClr val="accent1">
                      <a:alpha val="5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63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20" name="Skupina 119"/>
                <p:cNvGrpSpPr/>
                <p:nvPr/>
              </p:nvGrpSpPr>
              <p:grpSpPr>
                <a:xfrm>
                  <a:off x="963295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60" name="Obdélník 159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chemeClr val="accent1">
                      <a:alpha val="5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61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21" name="Skupina 120"/>
                <p:cNvGrpSpPr/>
                <p:nvPr/>
              </p:nvGrpSpPr>
              <p:grpSpPr>
                <a:xfrm>
                  <a:off x="48260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58" name="Obdélník 157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FF0000">
                      <a:alpha val="50000"/>
                    </a:srgb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59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22" name="Skupina 121"/>
                <p:cNvGrpSpPr/>
                <p:nvPr/>
              </p:nvGrpSpPr>
              <p:grpSpPr>
                <a:xfrm>
                  <a:off x="432435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56" name="Obdélník 155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FF0000">
                      <a:alpha val="50000"/>
                    </a:srgb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57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23" name="Skupina 122"/>
                <p:cNvGrpSpPr/>
                <p:nvPr/>
              </p:nvGrpSpPr>
              <p:grpSpPr>
                <a:xfrm>
                  <a:off x="480695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54" name="Obdélník 153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FF0000">
                      <a:alpha val="50000"/>
                    </a:srgb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55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24" name="Skupina 123"/>
                <p:cNvGrpSpPr/>
                <p:nvPr/>
              </p:nvGrpSpPr>
              <p:grpSpPr>
                <a:xfrm>
                  <a:off x="529590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52" name="Obdélník 151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FF0000">
                      <a:alpha val="50000"/>
                    </a:srgb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53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25" name="Skupina 124"/>
                <p:cNvGrpSpPr/>
                <p:nvPr/>
              </p:nvGrpSpPr>
              <p:grpSpPr>
                <a:xfrm>
                  <a:off x="577850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50" name="Obdélník 149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FF0000">
                      <a:alpha val="50000"/>
                    </a:srgb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51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26" name="Skupina 125"/>
                <p:cNvGrpSpPr/>
                <p:nvPr/>
              </p:nvGrpSpPr>
              <p:grpSpPr>
                <a:xfrm>
                  <a:off x="96520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48" name="Obdélník 147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FF0000">
                      <a:alpha val="50000"/>
                    </a:srgb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49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27" name="Skupina 126"/>
                <p:cNvGrpSpPr/>
                <p:nvPr/>
              </p:nvGrpSpPr>
              <p:grpSpPr>
                <a:xfrm>
                  <a:off x="144780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46" name="Obdélník 145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FF0000">
                      <a:alpha val="50000"/>
                    </a:srgb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47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28" name="Skupina 127"/>
                <p:cNvGrpSpPr/>
                <p:nvPr/>
              </p:nvGrpSpPr>
              <p:grpSpPr>
                <a:xfrm>
                  <a:off x="191770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44" name="Obdélník 143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FF0000">
                      <a:alpha val="50000"/>
                    </a:srgb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45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29" name="Skupina 128"/>
                <p:cNvGrpSpPr/>
                <p:nvPr/>
              </p:nvGrpSpPr>
              <p:grpSpPr>
                <a:xfrm>
                  <a:off x="239395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42" name="Obdélník 141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FF0000">
                      <a:alpha val="50000"/>
                    </a:srgb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43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30" name="Skupina 129"/>
                <p:cNvGrpSpPr/>
                <p:nvPr/>
              </p:nvGrpSpPr>
              <p:grpSpPr>
                <a:xfrm>
                  <a:off x="287655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40" name="Obdélník 139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FF0000">
                      <a:alpha val="50000"/>
                    </a:srgb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41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 dirty="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 dirty="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31" name="Skupina 130"/>
                <p:cNvGrpSpPr/>
                <p:nvPr/>
              </p:nvGrpSpPr>
              <p:grpSpPr>
                <a:xfrm>
                  <a:off x="335915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38" name="Obdélník 137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FF0000">
                      <a:alpha val="50000"/>
                    </a:srgb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39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32" name="Skupina 131"/>
                <p:cNvGrpSpPr/>
                <p:nvPr/>
              </p:nvGrpSpPr>
              <p:grpSpPr>
                <a:xfrm>
                  <a:off x="384175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36" name="Obdélník 135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FF0000">
                      <a:alpha val="50000"/>
                    </a:srgb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37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33" name="Skupina 132"/>
                <p:cNvGrpSpPr/>
                <p:nvPr/>
              </p:nvGrpSpPr>
              <p:grpSpPr>
                <a:xfrm>
                  <a:off x="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34" name="Obdélník 133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FF0000">
                      <a:alpha val="50000"/>
                    </a:srgb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35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</p:grpSp>
          <p:grpSp>
            <p:nvGrpSpPr>
              <p:cNvPr id="94" name="Skupina 93"/>
              <p:cNvGrpSpPr/>
              <p:nvPr/>
            </p:nvGrpSpPr>
            <p:grpSpPr>
              <a:xfrm>
                <a:off x="0" y="-4338"/>
                <a:ext cx="10061575" cy="302791"/>
                <a:chOff x="0" y="-4338"/>
                <a:chExt cx="10061575" cy="302791"/>
              </a:xfrm>
            </p:grpSpPr>
            <p:grpSp>
              <p:nvGrpSpPr>
                <p:cNvPr id="104" name="Skupina 103"/>
                <p:cNvGrpSpPr/>
                <p:nvPr/>
              </p:nvGrpSpPr>
              <p:grpSpPr>
                <a:xfrm>
                  <a:off x="0" y="-4338"/>
                  <a:ext cx="10061575" cy="302789"/>
                  <a:chOff x="0" y="-4338"/>
                  <a:chExt cx="10061575" cy="302789"/>
                </a:xfrm>
              </p:grpSpPr>
              <p:cxnSp>
                <p:nvCxnSpPr>
                  <p:cNvPr id="110" name="Přímá spojnice se šipkou 109"/>
                  <p:cNvCxnSpPr/>
                  <p:nvPr/>
                </p:nvCxnSpPr>
                <p:spPr>
                  <a:xfrm flipH="1">
                    <a:off x="0" y="298450"/>
                    <a:ext cx="10061575" cy="0"/>
                  </a:xfrm>
                  <a:prstGeom prst="straightConnector1">
                    <a:avLst/>
                  </a:prstGeom>
                  <a:ln>
                    <a:tailEnd type="arrow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1" name="Přímá spojnice se šipkou 110"/>
                  <p:cNvCxnSpPr/>
                  <p:nvPr/>
                </p:nvCxnSpPr>
                <p:spPr>
                  <a:xfrm>
                    <a:off x="6242050" y="-4338"/>
                    <a:ext cx="0" cy="298450"/>
                  </a:xfrm>
                  <a:prstGeom prst="straightConnector1">
                    <a:avLst/>
                  </a:prstGeom>
                  <a:ln>
                    <a:tailEnd type="arrow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2" name="Přímá spojnice se šipkou 111"/>
                  <p:cNvCxnSpPr/>
                  <p:nvPr/>
                </p:nvCxnSpPr>
                <p:spPr>
                  <a:xfrm>
                    <a:off x="8175625" y="1"/>
                    <a:ext cx="0" cy="298450"/>
                  </a:xfrm>
                  <a:prstGeom prst="straightConnector1">
                    <a:avLst/>
                  </a:prstGeom>
                  <a:ln>
                    <a:tailEnd type="arrow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05" name="Skupina 104"/>
                <p:cNvGrpSpPr/>
                <p:nvPr/>
              </p:nvGrpSpPr>
              <p:grpSpPr>
                <a:xfrm>
                  <a:off x="0" y="31751"/>
                  <a:ext cx="10013950" cy="266702"/>
                  <a:chOff x="0" y="-130174"/>
                  <a:chExt cx="10013950" cy="390528"/>
                </a:xfrm>
              </p:grpSpPr>
              <p:sp>
                <p:nvSpPr>
                  <p:cNvPr id="106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6423025" y="-130169"/>
                    <a:ext cx="3556000" cy="390523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 dirty="0">
                        <a:effectLst/>
                        <a:latin typeface="Calibri"/>
                        <a:ea typeface="Calibri"/>
                        <a:cs typeface="Times New Roman"/>
                      </a:rPr>
                      <a:t>360 </a:t>
                    </a:r>
                    <a:r>
                      <a:rPr lang="cs-CZ" sz="1100" dirty="0" err="1">
                        <a:effectLst/>
                        <a:latin typeface="Calibri"/>
                        <a:ea typeface="Calibri"/>
                        <a:cs typeface="Times New Roman"/>
                      </a:rPr>
                      <a:t>days</a:t>
                    </a:r>
                    <a:r>
                      <a:rPr lang="cs-CZ" sz="1100" dirty="0">
                        <a:effectLst/>
                        <a:latin typeface="Calibri"/>
                        <a:ea typeface="Calibri"/>
                        <a:cs typeface="Times New Roman"/>
                      </a:rPr>
                      <a:t> prior to Ret </a:t>
                    </a:r>
                    <a:r>
                      <a:rPr lang="cs-CZ" sz="1100" dirty="0" smtClean="0">
                        <a:effectLst/>
                        <a:latin typeface="Calibri"/>
                        <a:ea typeface="Calibri"/>
                        <a:cs typeface="Times New Roman"/>
                      </a:rPr>
                      <a:t>Age</a:t>
                    </a:r>
                    <a:r>
                      <a:rPr lang="zh-CN" altLang="en-US" sz="1100" dirty="0" smtClean="0">
                        <a:latin typeface="Calibri"/>
                        <a:ea typeface="Calibri"/>
                        <a:cs typeface="Times New Roman"/>
                      </a:rPr>
                      <a:t>距离退休年龄</a:t>
                    </a:r>
                    <a:r>
                      <a:rPr lang="en-US" altLang="zh-CN" sz="1100" dirty="0" smtClean="0">
                        <a:latin typeface="Calibri"/>
                        <a:ea typeface="Calibri"/>
                        <a:cs typeface="Times New Roman"/>
                      </a:rPr>
                      <a:t>360</a:t>
                    </a:r>
                    <a:r>
                      <a:rPr lang="zh-CN" altLang="en-US" sz="1100" dirty="0" smtClean="0">
                        <a:latin typeface="Calibri"/>
                        <a:ea typeface="Calibri"/>
                        <a:cs typeface="Times New Roman"/>
                      </a:rPr>
                      <a:t>天</a:t>
                    </a:r>
                    <a:endParaRPr lang="cs-CZ" sz="1100" dirty="0" smtClean="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  <p:sp>
                <p:nvSpPr>
                  <p:cNvPr id="107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4381501" y="-130171"/>
                    <a:ext cx="1765057" cy="34788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 dirty="0">
                        <a:effectLst/>
                        <a:latin typeface="Calibri"/>
                        <a:ea typeface="Calibri"/>
                        <a:cs typeface="Times New Roman"/>
                      </a:rPr>
                      <a:t>720 </a:t>
                    </a:r>
                    <a:r>
                      <a:rPr lang="cs-CZ" sz="1100" dirty="0" err="1">
                        <a:effectLst/>
                        <a:latin typeface="Calibri"/>
                        <a:ea typeface="Calibri"/>
                        <a:cs typeface="Times New Roman"/>
                      </a:rPr>
                      <a:t>days</a:t>
                    </a:r>
                    <a:r>
                      <a:rPr lang="cs-CZ" sz="1100" dirty="0">
                        <a:effectLst/>
                        <a:latin typeface="Calibri"/>
                        <a:ea typeface="Calibri"/>
                        <a:cs typeface="Times New Roman"/>
                      </a:rPr>
                      <a:t> prior to Ret </a:t>
                    </a:r>
                    <a:r>
                      <a:rPr lang="cs-CZ" sz="1100" dirty="0" smtClean="0">
                        <a:effectLst/>
                        <a:latin typeface="Calibri"/>
                        <a:ea typeface="Calibri"/>
                        <a:cs typeface="Times New Roman"/>
                      </a:rPr>
                      <a:t>Age </a:t>
                    </a:r>
                    <a:r>
                      <a:rPr lang="zh-CN" altLang="en-US" sz="1100" dirty="0" smtClean="0">
                        <a:latin typeface="Calibri"/>
                        <a:ea typeface="Calibri"/>
                        <a:cs typeface="Times New Roman"/>
                      </a:rPr>
                      <a:t>距离</a:t>
                    </a:r>
                    <a:r>
                      <a:rPr lang="zh-CN" altLang="en-US" sz="1100" dirty="0" smtClean="0">
                        <a:effectLst/>
                        <a:latin typeface="Calibri"/>
                        <a:ea typeface="Calibri"/>
                        <a:cs typeface="Times New Roman"/>
                      </a:rPr>
                      <a:t>退休年龄</a:t>
                    </a:r>
                    <a:r>
                      <a:rPr lang="en-US" altLang="zh-CN" sz="1100" dirty="0" smtClean="0">
                        <a:effectLst/>
                        <a:latin typeface="Calibri"/>
                        <a:ea typeface="Calibri"/>
                        <a:cs typeface="Times New Roman"/>
                      </a:rPr>
                      <a:t>720</a:t>
                    </a:r>
                    <a:r>
                      <a:rPr lang="zh-CN" altLang="en-US" sz="1100" dirty="0" smtClean="0">
                        <a:effectLst/>
                        <a:latin typeface="Calibri"/>
                        <a:ea typeface="Calibri"/>
                        <a:cs typeface="Times New Roman"/>
                      </a:rPr>
                      <a:t>天</a:t>
                    </a:r>
                    <a:endParaRPr lang="cs-CZ" sz="1100" dirty="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  <p:sp>
                <p:nvSpPr>
                  <p:cNvPr id="108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0" y="-98719"/>
                    <a:ext cx="2565688" cy="316429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 dirty="0">
                        <a:effectLst/>
                        <a:latin typeface="Calibri"/>
                        <a:ea typeface="Calibri"/>
                        <a:cs typeface="Times New Roman"/>
                      </a:rPr>
                      <a:t>more </a:t>
                    </a:r>
                    <a:r>
                      <a:rPr lang="cs-CZ" sz="1100" dirty="0" err="1">
                        <a:effectLst/>
                        <a:latin typeface="Calibri"/>
                        <a:ea typeface="Calibri"/>
                        <a:cs typeface="Times New Roman"/>
                      </a:rPr>
                      <a:t>than</a:t>
                    </a:r>
                    <a:r>
                      <a:rPr lang="cs-CZ" sz="1100" dirty="0">
                        <a:effectLst/>
                        <a:latin typeface="Calibri"/>
                        <a:ea typeface="Calibri"/>
                        <a:cs typeface="Times New Roman"/>
                      </a:rPr>
                      <a:t> </a:t>
                    </a:r>
                    <a:r>
                      <a:rPr lang="cs-CZ" sz="1100" dirty="0" smtClean="0">
                        <a:latin typeface="Calibri"/>
                        <a:ea typeface="Calibri"/>
                        <a:cs typeface="Times New Roman"/>
                      </a:rPr>
                      <a:t>720</a:t>
                    </a:r>
                    <a:r>
                      <a:rPr lang="cs-CZ" sz="1100" dirty="0" smtClean="0">
                        <a:effectLst/>
                        <a:latin typeface="Calibri"/>
                        <a:ea typeface="Calibri"/>
                        <a:cs typeface="Times New Roman"/>
                      </a:rPr>
                      <a:t> </a:t>
                    </a:r>
                    <a:r>
                      <a:rPr lang="cs-CZ" sz="1100" dirty="0" err="1">
                        <a:effectLst/>
                        <a:latin typeface="Calibri"/>
                        <a:ea typeface="Calibri"/>
                        <a:cs typeface="Times New Roman"/>
                      </a:rPr>
                      <a:t>days</a:t>
                    </a:r>
                    <a:r>
                      <a:rPr lang="cs-CZ" sz="1100" dirty="0">
                        <a:effectLst/>
                        <a:latin typeface="Calibri"/>
                        <a:ea typeface="Calibri"/>
                        <a:cs typeface="Times New Roman"/>
                      </a:rPr>
                      <a:t> prior to Ret </a:t>
                    </a:r>
                    <a:r>
                      <a:rPr lang="cs-CZ" sz="1100" dirty="0" smtClean="0">
                        <a:effectLst/>
                        <a:latin typeface="Calibri"/>
                        <a:ea typeface="Calibri"/>
                        <a:cs typeface="Times New Roman"/>
                      </a:rPr>
                      <a:t>Age </a:t>
                    </a:r>
                    <a:r>
                      <a:rPr lang="zh-CN" altLang="en-US" sz="1100" dirty="0" smtClean="0">
                        <a:latin typeface="Calibri"/>
                        <a:ea typeface="Calibri"/>
                        <a:cs typeface="Times New Roman"/>
                      </a:rPr>
                      <a:t>距离退休年龄还有</a:t>
                    </a:r>
                    <a:r>
                      <a:rPr lang="zh-CN" altLang="en-US" sz="1100" dirty="0" smtClean="0">
                        <a:effectLst/>
                        <a:latin typeface="Calibri"/>
                        <a:ea typeface="Calibri"/>
                        <a:cs typeface="Times New Roman"/>
                      </a:rPr>
                      <a:t>超过</a:t>
                    </a:r>
                    <a:r>
                      <a:rPr lang="en-US" altLang="zh-CN" sz="1100" dirty="0" smtClean="0">
                        <a:effectLst/>
                        <a:latin typeface="Calibri"/>
                        <a:ea typeface="Calibri"/>
                        <a:cs typeface="Times New Roman"/>
                      </a:rPr>
                      <a:t>720</a:t>
                    </a:r>
                    <a:r>
                      <a:rPr lang="zh-CN" altLang="en-US" sz="1100" dirty="0" smtClean="0">
                        <a:effectLst/>
                        <a:latin typeface="Calibri"/>
                        <a:ea typeface="Calibri"/>
                        <a:cs typeface="Times New Roman"/>
                      </a:rPr>
                      <a:t>天的时间</a:t>
                    </a:r>
                    <a:endParaRPr lang="cs-CZ" sz="1100" dirty="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  <p:sp>
                <p:nvSpPr>
                  <p:cNvPr id="109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8350250" y="-130174"/>
                    <a:ext cx="1663700" cy="38417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 algn="r"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 dirty="0">
                        <a:effectLst/>
                        <a:latin typeface="Calibri"/>
                        <a:ea typeface="Calibri"/>
                        <a:cs typeface="Times New Roman"/>
                      </a:rPr>
                      <a:t>Ret Age</a:t>
                    </a:r>
                  </a:p>
                </p:txBody>
              </p:sp>
            </p:grpSp>
          </p:grpSp>
          <p:grpSp>
            <p:nvGrpSpPr>
              <p:cNvPr id="95" name="Skupina 94"/>
              <p:cNvGrpSpPr/>
              <p:nvPr/>
            </p:nvGrpSpPr>
            <p:grpSpPr>
              <a:xfrm>
                <a:off x="0" y="977240"/>
                <a:ext cx="10099676" cy="588670"/>
                <a:chOff x="0" y="-660"/>
                <a:chExt cx="10099676" cy="588670"/>
              </a:xfrm>
            </p:grpSpPr>
            <p:grpSp>
              <p:nvGrpSpPr>
                <p:cNvPr id="96" name="Skupina 95"/>
                <p:cNvGrpSpPr/>
                <p:nvPr/>
              </p:nvGrpSpPr>
              <p:grpSpPr>
                <a:xfrm>
                  <a:off x="0" y="-331"/>
                  <a:ext cx="10099676" cy="331"/>
                  <a:chOff x="0" y="-331"/>
                  <a:chExt cx="10099676" cy="331"/>
                </a:xfrm>
              </p:grpSpPr>
              <p:cxnSp>
                <p:nvCxnSpPr>
                  <p:cNvPr id="101" name="Přímá spojnice se šipkou 100"/>
                  <p:cNvCxnSpPr/>
                  <p:nvPr/>
                </p:nvCxnSpPr>
                <p:spPr>
                  <a:xfrm flipH="1">
                    <a:off x="8175625" y="-331"/>
                    <a:ext cx="1924051" cy="0"/>
                  </a:xfrm>
                  <a:prstGeom prst="straightConnector1">
                    <a:avLst/>
                  </a:prstGeom>
                  <a:ln>
                    <a:tailEnd type="arrow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2" name="Přímá spojnice se šipkou 101"/>
                  <p:cNvCxnSpPr/>
                  <p:nvPr/>
                </p:nvCxnSpPr>
                <p:spPr>
                  <a:xfrm flipH="1">
                    <a:off x="6242050" y="0"/>
                    <a:ext cx="1958976" cy="0"/>
                  </a:xfrm>
                  <a:prstGeom prst="straightConnector1">
                    <a:avLst/>
                  </a:prstGeom>
                  <a:ln>
                    <a:tailEnd type="arrow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3" name="Přímá spojnice se šipkou 102"/>
                  <p:cNvCxnSpPr/>
                  <p:nvPr/>
                </p:nvCxnSpPr>
                <p:spPr>
                  <a:xfrm flipH="1">
                    <a:off x="0" y="-331"/>
                    <a:ext cx="6242050" cy="0"/>
                  </a:xfrm>
                  <a:prstGeom prst="straightConnector1">
                    <a:avLst/>
                  </a:prstGeom>
                  <a:ln>
                    <a:tailEnd type="arrow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97" name="Skupina 96"/>
                <p:cNvGrpSpPr/>
                <p:nvPr/>
              </p:nvGrpSpPr>
              <p:grpSpPr>
                <a:xfrm>
                  <a:off x="2708275" y="-660"/>
                  <a:ext cx="7388225" cy="588670"/>
                  <a:chOff x="1952625" y="-660"/>
                  <a:chExt cx="7388225" cy="588670"/>
                </a:xfrm>
              </p:grpSpPr>
              <p:sp>
                <p:nvSpPr>
                  <p:cNvPr id="98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7467600" y="-660"/>
                    <a:ext cx="1873250" cy="478922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 algn="r"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 dirty="0">
                        <a:effectLst/>
                        <a:latin typeface="Calibri"/>
                        <a:ea typeface="Calibri"/>
                        <a:cs typeface="Times New Roman"/>
                      </a:rPr>
                      <a:t>0,9 % </a:t>
                    </a:r>
                    <a:r>
                      <a:rPr lang="cs-CZ" sz="1100" dirty="0" err="1">
                        <a:effectLst/>
                        <a:latin typeface="Calibri"/>
                        <a:ea typeface="Calibri"/>
                        <a:cs typeface="Times New Roman"/>
                      </a:rPr>
                      <a:t>reduction</a:t>
                    </a:r>
                    <a:r>
                      <a:rPr lang="cs-CZ" sz="1100" dirty="0">
                        <a:effectLst/>
                        <a:latin typeface="Calibri"/>
                        <a:ea typeface="Calibri"/>
                        <a:cs typeface="Times New Roman"/>
                      </a:rPr>
                      <a:t> per 90-day </a:t>
                    </a:r>
                    <a:r>
                      <a:rPr lang="cs-CZ" sz="1100" dirty="0" smtClean="0">
                        <a:effectLst/>
                        <a:latin typeface="Calibri"/>
                        <a:ea typeface="Calibri"/>
                        <a:cs typeface="Times New Roman"/>
                      </a:rPr>
                      <a:t>period</a:t>
                    </a:r>
                    <a:r>
                      <a:rPr lang="zh-CN" altLang="en-US" sz="1100" dirty="0" smtClean="0">
                        <a:latin typeface="Calibri"/>
                        <a:ea typeface="Calibri"/>
                        <a:cs typeface="Times New Roman"/>
                      </a:rPr>
                      <a:t>每</a:t>
                    </a:r>
                    <a:r>
                      <a:rPr lang="en-US" altLang="zh-CN" sz="1100" dirty="0" smtClean="0"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r>
                      <a:rPr lang="zh-CN" altLang="en-US" sz="1100" dirty="0" smtClean="0">
                        <a:latin typeface="Calibri"/>
                        <a:ea typeface="Calibri"/>
                        <a:cs typeface="Times New Roman"/>
                      </a:rPr>
                      <a:t>天减少</a:t>
                    </a:r>
                    <a:r>
                      <a:rPr lang="en-US" altLang="zh-CN" sz="1100" dirty="0" smtClean="0">
                        <a:latin typeface="Calibri"/>
                        <a:ea typeface="Calibri"/>
                        <a:cs typeface="Times New Roman"/>
                      </a:rPr>
                      <a:t>0.9%</a:t>
                    </a:r>
                    <a:endParaRPr lang="cs-CZ" sz="1100" dirty="0" smtClean="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  <p:sp>
                <p:nvSpPr>
                  <p:cNvPr id="99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543550" y="3810"/>
                    <a:ext cx="1949450" cy="58420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 algn="r"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 dirty="0">
                        <a:effectLst/>
                        <a:latin typeface="Calibri"/>
                        <a:ea typeface="Calibri"/>
                        <a:cs typeface="Times New Roman"/>
                      </a:rPr>
                      <a:t>1,2 % </a:t>
                    </a:r>
                    <a:r>
                      <a:rPr lang="cs-CZ" sz="1100" dirty="0" err="1">
                        <a:effectLst/>
                        <a:latin typeface="Calibri"/>
                        <a:ea typeface="Calibri"/>
                        <a:cs typeface="Times New Roman"/>
                      </a:rPr>
                      <a:t>reduction</a:t>
                    </a:r>
                    <a:r>
                      <a:rPr lang="cs-CZ" sz="1100" dirty="0">
                        <a:effectLst/>
                        <a:latin typeface="Calibri"/>
                        <a:ea typeface="Calibri"/>
                        <a:cs typeface="Times New Roman"/>
                      </a:rPr>
                      <a:t> per 90-day period (</a:t>
                    </a:r>
                    <a:r>
                      <a:rPr lang="cs-CZ" sz="1100" dirty="0" err="1">
                        <a:effectLst/>
                        <a:latin typeface="Calibri"/>
                        <a:ea typeface="Calibri"/>
                        <a:cs typeface="Times New Roman"/>
                      </a:rPr>
                      <a:t>since</a:t>
                    </a:r>
                    <a:r>
                      <a:rPr lang="cs-CZ" sz="1100" dirty="0">
                        <a:effectLst/>
                        <a:latin typeface="Calibri"/>
                        <a:ea typeface="Calibri"/>
                        <a:cs typeface="Times New Roman"/>
                      </a:rPr>
                      <a:t> 2011</a:t>
                    </a:r>
                    <a:r>
                      <a:rPr lang="cs-CZ" sz="1100" dirty="0" smtClean="0">
                        <a:effectLst/>
                        <a:latin typeface="Calibri"/>
                        <a:ea typeface="Calibri"/>
                        <a:cs typeface="Times New Roman"/>
                      </a:rPr>
                      <a:t>)</a:t>
                    </a:r>
                    <a:r>
                      <a:rPr lang="zh-CN" altLang="en-US" sz="1100" dirty="0" smtClean="0">
                        <a:effectLst/>
                        <a:latin typeface="Calibri"/>
                        <a:ea typeface="Calibri"/>
                        <a:cs typeface="Times New Roman"/>
                      </a:rPr>
                      <a:t>每</a:t>
                    </a:r>
                    <a:r>
                      <a:rPr lang="en-US" altLang="zh-CN" sz="1100" dirty="0" smtClean="0"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r>
                      <a:rPr lang="zh-CN" altLang="en-US" sz="1100" dirty="0" smtClean="0">
                        <a:effectLst/>
                        <a:latin typeface="Calibri"/>
                        <a:ea typeface="Calibri"/>
                        <a:cs typeface="Times New Roman"/>
                      </a:rPr>
                      <a:t>天减少</a:t>
                    </a:r>
                    <a:r>
                      <a:rPr lang="en-US" altLang="zh-CN" sz="1100" dirty="0" smtClean="0">
                        <a:effectLst/>
                        <a:latin typeface="Calibri"/>
                        <a:ea typeface="Calibri"/>
                        <a:cs typeface="Times New Roman"/>
                      </a:rPr>
                      <a:t>1.2%</a:t>
                    </a:r>
                    <a:r>
                      <a:rPr lang="zh-CN" altLang="en-US" sz="1100" dirty="0" smtClean="0">
                        <a:effectLst/>
                        <a:latin typeface="Calibri"/>
                        <a:ea typeface="Calibri"/>
                        <a:cs typeface="Times New Roman"/>
                      </a:rPr>
                      <a:t>（自</a:t>
                    </a:r>
                    <a:r>
                      <a:rPr lang="en-US" altLang="zh-CN" sz="1100" dirty="0" smtClean="0">
                        <a:effectLst/>
                        <a:latin typeface="Calibri"/>
                        <a:ea typeface="Calibri"/>
                        <a:cs typeface="Times New Roman"/>
                      </a:rPr>
                      <a:t>2011</a:t>
                    </a:r>
                    <a:r>
                      <a:rPr lang="zh-CN" altLang="en-US" sz="1100" dirty="0" smtClean="0">
                        <a:effectLst/>
                        <a:latin typeface="Calibri"/>
                        <a:ea typeface="Calibri"/>
                        <a:cs typeface="Times New Roman"/>
                      </a:rPr>
                      <a:t>年起）</a:t>
                    </a:r>
                    <a:endParaRPr lang="cs-CZ" sz="1100" dirty="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  <p:sp>
                <p:nvSpPr>
                  <p:cNvPr id="100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952625" y="3808"/>
                    <a:ext cx="3556000" cy="25400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 algn="r"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 dirty="0">
                        <a:effectLst/>
                        <a:latin typeface="Calibri"/>
                        <a:ea typeface="Calibri"/>
                        <a:cs typeface="Times New Roman"/>
                      </a:rPr>
                      <a:t>1,5 % </a:t>
                    </a:r>
                    <a:r>
                      <a:rPr lang="cs-CZ" sz="1100" dirty="0" err="1">
                        <a:effectLst/>
                        <a:latin typeface="Calibri"/>
                        <a:ea typeface="Calibri"/>
                        <a:cs typeface="Times New Roman"/>
                      </a:rPr>
                      <a:t>reduction</a:t>
                    </a:r>
                    <a:r>
                      <a:rPr lang="cs-CZ" sz="1100" dirty="0">
                        <a:effectLst/>
                        <a:latin typeface="Calibri"/>
                        <a:ea typeface="Calibri"/>
                        <a:cs typeface="Times New Roman"/>
                      </a:rPr>
                      <a:t> per 90-day </a:t>
                    </a:r>
                    <a:r>
                      <a:rPr lang="cs-CZ" sz="1100" dirty="0" smtClean="0">
                        <a:effectLst/>
                        <a:latin typeface="Calibri"/>
                        <a:ea typeface="Calibri"/>
                        <a:cs typeface="Times New Roman"/>
                      </a:rPr>
                      <a:t>period</a:t>
                    </a:r>
                    <a:r>
                      <a:rPr lang="zh-CN" altLang="en-US" sz="1100" dirty="0" smtClean="0">
                        <a:latin typeface="Calibri"/>
                        <a:ea typeface="Calibri"/>
                        <a:cs typeface="Times New Roman"/>
                      </a:rPr>
                      <a:t>每</a:t>
                    </a:r>
                    <a:r>
                      <a:rPr lang="en-US" altLang="zh-CN" sz="1100" dirty="0" smtClean="0"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r>
                      <a:rPr lang="zh-CN" altLang="en-US" sz="1100" dirty="0" smtClean="0">
                        <a:latin typeface="Calibri"/>
                        <a:ea typeface="Calibri"/>
                        <a:cs typeface="Times New Roman"/>
                      </a:rPr>
                      <a:t>天减少</a:t>
                    </a:r>
                    <a:r>
                      <a:rPr lang="en-US" altLang="zh-CN" sz="1100" dirty="0" smtClean="0">
                        <a:latin typeface="Calibri"/>
                        <a:ea typeface="Calibri"/>
                        <a:cs typeface="Times New Roman"/>
                      </a:rPr>
                      <a:t>1.5%</a:t>
                    </a:r>
                    <a:endParaRPr lang="cs-CZ" sz="1100" dirty="0" smtClean="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</p:grpSp>
        </p:grpSp>
        <p:cxnSp>
          <p:nvCxnSpPr>
            <p:cNvPr id="92" name="Přímá spojnice se šipkou 91"/>
            <p:cNvCxnSpPr/>
            <p:nvPr/>
          </p:nvCxnSpPr>
          <p:spPr>
            <a:xfrm>
              <a:off x="10058400" y="0"/>
              <a:ext cx="0" cy="297815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679706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488" y="1052736"/>
            <a:ext cx="9200197" cy="6740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Qualifying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eriod (2008)  </a:t>
            </a: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资格期（</a:t>
            </a:r>
            <a:r>
              <a:rPr lang="en-US" altLang="zh-CN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08</a:t>
            </a: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）</a:t>
            </a:r>
            <a:endParaRPr lang="cs-CZ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971550" lvl="1" indent="-51435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romanUcPeriod"/>
            </a:pP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inimum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quired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sured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eriod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ing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tended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rom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25 to 35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ears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surance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   </a:t>
            </a: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最低保险期限从</a:t>
            </a: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5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延长至</a:t>
            </a: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35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</a:t>
            </a:r>
            <a:endParaRPr lang="cs-CZ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971550" lvl="1" indent="-51435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romanUcPeriod"/>
            </a:pP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34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ears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surance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quired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2017,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inal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ate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ill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ached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2018</a:t>
            </a:r>
          </a:p>
          <a:p>
            <a:pPr lvl="1"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altLang="zh-CN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   2017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将有</a:t>
            </a: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34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的保险，</a:t>
            </a: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最终于</a:t>
            </a: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8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实现</a:t>
            </a:r>
            <a:endParaRPr lang="cs-CZ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514350" indent="-51435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arabicPeriod"/>
            </a:pP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duction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non-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ory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riods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2008)  </a:t>
            </a: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减少非缴费期（</a:t>
            </a:r>
            <a:r>
              <a:rPr lang="en-US" altLang="zh-CN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08</a:t>
            </a: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）</a:t>
            </a:r>
            <a:endParaRPr lang="cs-CZ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971550" lvl="1" indent="-51435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romanUcPeriod"/>
            </a:pP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riods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llege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udies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ill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not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unted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s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sured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riods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arting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ith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2009                </a:t>
            </a: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从</a:t>
            </a: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09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开始，大学期间的学习时间将不计入保险期间</a:t>
            </a:r>
            <a:endParaRPr lang="cs-CZ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971550" lvl="1" indent="-51435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romanUcPeriod"/>
            </a:pP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ly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80 %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most non-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ory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riods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ill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aken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to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count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en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ssessing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ension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titlement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</a:t>
            </a:r>
          </a:p>
          <a:p>
            <a:pPr lvl="1"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cs-CZ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altLang="zh-CN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 </a:t>
            </a: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在评估养恤金权利时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，</a:t>
            </a: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只有</a:t>
            </a:r>
            <a:r>
              <a:rPr lang="en-US" altLang="zh-CN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80%</a:t>
            </a: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的非缴费期会被纳入考虑范围</a:t>
            </a:r>
            <a:endParaRPr lang="cs-CZ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514350" indent="-51435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arabicPeriod"/>
            </a:pP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ference period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tension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2011)          </a:t>
            </a: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参考期延长（</a:t>
            </a:r>
            <a:r>
              <a:rPr lang="en-US" altLang="zh-CN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1</a:t>
            </a: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）</a:t>
            </a:r>
            <a:endParaRPr lang="cs-CZ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971550" lvl="1" indent="-51435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romanUcPeriod"/>
            </a:pP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ference period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ension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lculation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actoring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istorical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arnings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ing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tended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</a:t>
            </a:r>
            <a:r>
              <a:rPr lang="cs-CZ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ifelong</a:t>
            </a:r>
            <a:r>
              <a:rPr lang="cs-CZ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 </a:t>
            </a:r>
          </a:p>
          <a:p>
            <a:pPr lvl="1"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cs-CZ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altLang="zh-CN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 </a:t>
            </a: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养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老金计算</a:t>
            </a: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历史收益保理</a:t>
            </a: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  <a:r>
              <a:rPr lang="zh-CN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的基准期延长至终身</a:t>
            </a:r>
            <a:endParaRPr lang="cs-CZ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cs-CZ" dirty="0" err="1" smtClean="0"/>
              <a:t>Other</a:t>
            </a:r>
            <a:r>
              <a:rPr lang="cs-CZ" dirty="0" smtClean="0"/>
              <a:t> </a:t>
            </a:r>
            <a:r>
              <a:rPr lang="cs-CZ" dirty="0" err="1" smtClean="0"/>
              <a:t>parameters</a:t>
            </a:r>
            <a:r>
              <a:rPr lang="cs-CZ" dirty="0" smtClean="0"/>
              <a:t>   </a:t>
            </a:r>
            <a:r>
              <a:rPr lang="zh-CN" altLang="en-US" dirty="0" smtClean="0"/>
              <a:t>其他参数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1256575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488" y="908720"/>
            <a:ext cx="9200197" cy="66018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forms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2008 and 2011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moted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long-term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inancial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stainability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s</a:t>
            </a:r>
            <a:endParaRPr lang="cs-CZ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2008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和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1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的改革促进了养老金的长期财政可持续性</a:t>
            </a:r>
            <a:endParaRPr lang="cs-CZ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arabicPeriod" startAt="2"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jected 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ng-term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 system 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alance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 2008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as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negative 4 – 5 % GDP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预计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08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的长期养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老金体系余额为</a:t>
            </a:r>
            <a:r>
              <a:rPr lang="cs-CZ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DP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的负</a:t>
            </a: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4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%</a:t>
            </a: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- 5% </a:t>
            </a:r>
            <a:endParaRPr lang="cs-CZ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arabicPeriod" startAt="3"/>
            </a:pP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jected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long-term pension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ystem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alance in 2015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as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0,5 % GDP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预计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5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养老金体系的长期余额为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DP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的</a:t>
            </a: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0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5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%</a:t>
            </a:r>
            <a:endParaRPr lang="cs-CZ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arabicPeriod" startAt="4"/>
            </a:pP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dequacy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evel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nefits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as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jected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crease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y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pprox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 10 % (2015)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养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老金充足率（福利水平）预计将下降约 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0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％（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5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）</a:t>
            </a:r>
            <a:endParaRPr lang="cs-CZ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arabicPeriod" startAt="5"/>
            </a:pP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form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versal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2017)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ill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teriorate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ension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stainbility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utlook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ile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mproving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inancial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ituation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ers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endParaRPr lang="cs-CZ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改革逆转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2017)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将恶化养老金的可持续发展前景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，但同时养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老金领取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者的财务状况将会得到改善</a:t>
            </a: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cs-CZ" dirty="0" err="1" smtClean="0"/>
              <a:t>Reforms</a:t>
            </a:r>
            <a:r>
              <a:rPr lang="en-US" dirty="0" smtClean="0"/>
              <a:t>’</a:t>
            </a:r>
            <a:r>
              <a:rPr lang="cs-CZ" dirty="0" smtClean="0"/>
              <a:t> </a:t>
            </a:r>
            <a:r>
              <a:rPr lang="cs-CZ" dirty="0" err="1" smtClean="0"/>
              <a:t>impact</a:t>
            </a:r>
            <a:r>
              <a:rPr lang="cs-CZ" dirty="0" smtClean="0"/>
              <a:t>    </a:t>
            </a:r>
            <a:r>
              <a:rPr lang="zh-CN" altLang="en-US" dirty="0" smtClean="0"/>
              <a:t>改革的影响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2901296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endParaRPr lang="cs-CZ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cs-CZ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cs-CZ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ctr"/>
            <a:r>
              <a:rPr lang="cs-CZ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Jan Škorpík </a:t>
            </a:r>
            <a:r>
              <a:rPr 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&amp; Marek </a:t>
            </a:r>
            <a:r>
              <a:rPr lang="en-US" sz="2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chomel</a:t>
            </a:r>
            <a:endParaRPr lang="en-US" sz="28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ctr"/>
            <a:r>
              <a:rPr lang="en-US" sz="2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  <a:hlinkClick r:id="rId2"/>
              </a:rPr>
              <a:t>jan.skorpik@mpsv.c</a:t>
            </a:r>
            <a:r>
              <a:rPr lang="cs-CZ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  <a:hlinkClick r:id="rId2"/>
              </a:rPr>
              <a:t>z</a:t>
            </a:r>
            <a:endParaRPr lang="cs-CZ" sz="28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ctr"/>
            <a:r>
              <a:rPr lang="cs-CZ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  <a:hlinkClick r:id="rId3"/>
              </a:rPr>
              <a:t>marek.suchomel@mpsv.cz</a:t>
            </a:r>
            <a:endParaRPr lang="cs-CZ" sz="28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cs-CZ" sz="28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cs-CZ" dirty="0" err="1" smtClean="0"/>
              <a:t>Thank</a:t>
            </a:r>
            <a:r>
              <a:rPr lang="cs-CZ" dirty="0" smtClean="0"/>
              <a:t> </a:t>
            </a:r>
            <a:r>
              <a:rPr lang="cs-CZ" dirty="0" err="1" smtClean="0"/>
              <a:t>you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8252446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364" y="2060848"/>
            <a:ext cx="9200197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US" sz="22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995 – Introduction of the Pension Act (Law No. 155/1995 </a:t>
            </a:r>
            <a:r>
              <a:rPr lang="en-US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ll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  <a:r>
              <a:rPr 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     </a:t>
            </a:r>
            <a:r>
              <a:rPr lang="zh-CN" alt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养老金法案的介绍</a:t>
            </a:r>
            <a:endParaRPr lang="en-US" sz="22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04 – Minor parametric changes                            </a:t>
            </a:r>
            <a:r>
              <a:rPr lang="zh-CN" alt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小参数的变化</a:t>
            </a:r>
            <a:r>
              <a:rPr 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    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sz="2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08 – First major parametric reform                   </a:t>
            </a:r>
            <a:r>
              <a:rPr lang="zh-CN" altLang="en-US" sz="2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第一次重大参数改革</a:t>
            </a:r>
            <a:r>
              <a:rPr lang="en-US" sz="2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sz="2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1 – „Small pension reform“                              </a:t>
            </a:r>
            <a:r>
              <a:rPr lang="zh-CN" altLang="en-US" sz="2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”小型养老金改革“</a:t>
            </a:r>
            <a:endParaRPr lang="en-US" sz="2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7 – Further parametric changes –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rtial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versal of the 2011 reform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altLang="zh-CN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      </a:t>
            </a:r>
            <a:r>
              <a:rPr lang="zh-CN" alt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进一步</a:t>
            </a:r>
            <a:r>
              <a:rPr lang="zh-CN" altLang="en-US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的参数变化 </a:t>
            </a:r>
            <a:r>
              <a:rPr lang="en-US" altLang="zh-CN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- 2011</a:t>
            </a:r>
            <a:r>
              <a:rPr lang="zh-CN" altLang="en-US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改革的部分逆转</a:t>
            </a: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Pension reform timeline      </a:t>
            </a:r>
            <a:r>
              <a:rPr lang="zh-CN" altLang="en-US" dirty="0" smtClean="0"/>
              <a:t>养</a:t>
            </a:r>
            <a:r>
              <a:rPr lang="zh-CN" altLang="en-US" dirty="0"/>
              <a:t>老金改革时间表</a:t>
            </a:r>
            <a:endParaRPr lang="en-US" dirty="0"/>
          </a:p>
        </p:txBody>
      </p:sp>
      <p:grpSp>
        <p:nvGrpSpPr>
          <p:cNvPr id="4" name="Skupina 3"/>
          <p:cNvGrpSpPr/>
          <p:nvPr/>
        </p:nvGrpSpPr>
        <p:grpSpPr>
          <a:xfrm>
            <a:off x="359481" y="1268760"/>
            <a:ext cx="9286875" cy="752475"/>
            <a:chOff x="0" y="0"/>
            <a:chExt cx="9286875" cy="752475"/>
          </a:xfrm>
        </p:grpSpPr>
        <p:grpSp>
          <p:nvGrpSpPr>
            <p:cNvPr id="7" name="Skupina 6"/>
            <p:cNvGrpSpPr/>
            <p:nvPr/>
          </p:nvGrpSpPr>
          <p:grpSpPr>
            <a:xfrm>
              <a:off x="0" y="0"/>
              <a:ext cx="2085975" cy="752475"/>
              <a:chOff x="0" y="0"/>
              <a:chExt cx="2085975" cy="752475"/>
            </a:xfrm>
          </p:grpSpPr>
          <p:sp>
            <p:nvSpPr>
              <p:cNvPr id="20" name="Dvojitá šipka 19"/>
              <p:cNvSpPr/>
              <p:nvPr/>
            </p:nvSpPr>
            <p:spPr>
              <a:xfrm>
                <a:off x="0" y="0"/>
                <a:ext cx="2085975" cy="752475"/>
              </a:xfrm>
              <a:prstGeom prst="chevron">
                <a:avLst/>
              </a:prstGeom>
              <a:solidFill>
                <a:schemeClr val="accent1">
                  <a:alpha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cs-CZ"/>
              </a:p>
            </p:txBody>
          </p:sp>
          <p:sp>
            <p:nvSpPr>
              <p:cNvPr id="21" name="Textové pole 2"/>
              <p:cNvSpPr txBox="1">
                <a:spLocks noChangeArrowheads="1"/>
              </p:cNvSpPr>
              <p:nvPr/>
            </p:nvSpPr>
            <p:spPr bwMode="auto">
              <a:xfrm>
                <a:off x="676275" y="180975"/>
                <a:ext cx="571500" cy="5238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>
                  <a:lnSpc>
                    <a:spcPct val="115000"/>
                  </a:lnSpc>
                  <a:spcAft>
                    <a:spcPts val="1000"/>
                  </a:spcAft>
                </a:pPr>
                <a:r>
                  <a:rPr lang="cs-CZ" sz="1400">
                    <a:ln w="9208" cap="flat" cmpd="sng" algn="ctr">
                      <a:solidFill>
                        <a:srgbClr val="FFFFFF"/>
                      </a:solidFill>
                      <a:prstDash val="solid"/>
                      <a:round/>
                    </a:ln>
                    <a:solidFill>
                      <a:srgbClr val="FFFFFF"/>
                    </a:solidFill>
                    <a:effectLst>
                      <a:outerShdw blurRad="63500" dir="3600000" algn="tl">
                        <a:srgbClr val="000000">
                          <a:alpha val="70000"/>
                        </a:srgbClr>
                      </a:outerShdw>
                    </a:effectLst>
                    <a:latin typeface="Calibri"/>
                    <a:ea typeface="Calibri"/>
                    <a:cs typeface="Times New Roman"/>
                  </a:rPr>
                  <a:t>1995</a:t>
                </a:r>
                <a:endParaRPr lang="cs-CZ" sz="1100">
                  <a:effectLst/>
                  <a:latin typeface="Calibri"/>
                  <a:ea typeface="Calibri"/>
                  <a:cs typeface="Times New Roman"/>
                </a:endParaRPr>
              </a:p>
            </p:txBody>
          </p:sp>
        </p:grpSp>
        <p:grpSp>
          <p:nvGrpSpPr>
            <p:cNvPr id="8" name="Skupina 7"/>
            <p:cNvGrpSpPr/>
            <p:nvPr/>
          </p:nvGrpSpPr>
          <p:grpSpPr>
            <a:xfrm>
              <a:off x="1771650" y="0"/>
              <a:ext cx="2085975" cy="752475"/>
              <a:chOff x="0" y="0"/>
              <a:chExt cx="2085975" cy="752475"/>
            </a:xfrm>
          </p:grpSpPr>
          <p:sp>
            <p:nvSpPr>
              <p:cNvPr id="18" name="Dvojitá šipka 17"/>
              <p:cNvSpPr/>
              <p:nvPr/>
            </p:nvSpPr>
            <p:spPr>
              <a:xfrm>
                <a:off x="0" y="0"/>
                <a:ext cx="2085975" cy="752475"/>
              </a:xfrm>
              <a:prstGeom prst="chevron">
                <a:avLst/>
              </a:prstGeom>
              <a:solidFill>
                <a:schemeClr val="accent1">
                  <a:alpha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cs-CZ"/>
              </a:p>
            </p:txBody>
          </p:sp>
          <p:sp>
            <p:nvSpPr>
              <p:cNvPr id="19" name="Textové pole 2"/>
              <p:cNvSpPr txBox="1">
                <a:spLocks noChangeArrowheads="1"/>
              </p:cNvSpPr>
              <p:nvPr/>
            </p:nvSpPr>
            <p:spPr bwMode="auto">
              <a:xfrm>
                <a:off x="676275" y="180873"/>
                <a:ext cx="572134" cy="5238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>
                  <a:lnSpc>
                    <a:spcPct val="115000"/>
                  </a:lnSpc>
                  <a:spcAft>
                    <a:spcPts val="1000"/>
                  </a:spcAft>
                </a:pPr>
                <a:r>
                  <a:rPr lang="cs-CZ" sz="1400">
                    <a:ln w="9208" cap="flat" cmpd="sng" algn="ctr">
                      <a:solidFill>
                        <a:srgbClr val="FFFFFF"/>
                      </a:solidFill>
                      <a:prstDash val="solid"/>
                      <a:round/>
                    </a:ln>
                    <a:solidFill>
                      <a:srgbClr val="FFFFFF"/>
                    </a:solidFill>
                    <a:effectLst>
                      <a:outerShdw blurRad="63500" dir="3600000" algn="tl">
                        <a:srgbClr val="000000">
                          <a:alpha val="70000"/>
                        </a:srgbClr>
                      </a:outerShdw>
                    </a:effectLst>
                    <a:latin typeface="Calibri"/>
                    <a:ea typeface="Calibri"/>
                    <a:cs typeface="Times New Roman"/>
                  </a:rPr>
                  <a:t>2004</a:t>
                </a:r>
                <a:endParaRPr lang="cs-CZ" sz="1100">
                  <a:effectLst/>
                  <a:latin typeface="Calibri"/>
                  <a:ea typeface="Calibri"/>
                  <a:cs typeface="Times New Roman"/>
                </a:endParaRPr>
              </a:p>
            </p:txBody>
          </p:sp>
        </p:grpSp>
        <p:grpSp>
          <p:nvGrpSpPr>
            <p:cNvPr id="9" name="Skupina 8"/>
            <p:cNvGrpSpPr/>
            <p:nvPr/>
          </p:nvGrpSpPr>
          <p:grpSpPr>
            <a:xfrm>
              <a:off x="3609975" y="0"/>
              <a:ext cx="2085975" cy="752475"/>
              <a:chOff x="0" y="0"/>
              <a:chExt cx="2085975" cy="752475"/>
            </a:xfrm>
          </p:grpSpPr>
          <p:sp>
            <p:nvSpPr>
              <p:cNvPr id="16" name="Dvojitá šipka 15"/>
              <p:cNvSpPr/>
              <p:nvPr/>
            </p:nvSpPr>
            <p:spPr>
              <a:xfrm>
                <a:off x="0" y="0"/>
                <a:ext cx="2085975" cy="752475"/>
              </a:xfrm>
              <a:prstGeom prst="chevron">
                <a:avLst/>
              </a:prstGeom>
              <a:solidFill>
                <a:srgbClr val="FF0000">
                  <a:alpha val="60000"/>
                </a:srgbClr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cs-CZ"/>
              </a:p>
            </p:txBody>
          </p:sp>
          <p:sp>
            <p:nvSpPr>
              <p:cNvPr id="17" name="Textové pole 2"/>
              <p:cNvSpPr txBox="1">
                <a:spLocks noChangeArrowheads="1"/>
              </p:cNvSpPr>
              <p:nvPr/>
            </p:nvSpPr>
            <p:spPr bwMode="auto">
              <a:xfrm>
                <a:off x="676275" y="180873"/>
                <a:ext cx="572134" cy="5238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>
                  <a:lnSpc>
                    <a:spcPct val="115000"/>
                  </a:lnSpc>
                  <a:spcAft>
                    <a:spcPts val="1000"/>
                  </a:spcAft>
                </a:pPr>
                <a:r>
                  <a:rPr lang="cs-CZ" sz="1400">
                    <a:ln w="9208" cap="flat" cmpd="sng" algn="ctr">
                      <a:solidFill>
                        <a:srgbClr val="FFFFFF"/>
                      </a:solidFill>
                      <a:prstDash val="solid"/>
                      <a:round/>
                    </a:ln>
                    <a:solidFill>
                      <a:srgbClr val="FFFFFF"/>
                    </a:solidFill>
                    <a:effectLst>
                      <a:outerShdw blurRad="63500" dir="3600000" algn="tl">
                        <a:srgbClr val="000000">
                          <a:alpha val="70000"/>
                        </a:srgbClr>
                      </a:outerShdw>
                    </a:effectLst>
                    <a:latin typeface="Calibri"/>
                    <a:ea typeface="Calibri"/>
                    <a:cs typeface="Times New Roman"/>
                  </a:rPr>
                  <a:t>2008</a:t>
                </a:r>
                <a:endParaRPr lang="cs-CZ" sz="1100">
                  <a:effectLst/>
                  <a:latin typeface="Calibri"/>
                  <a:ea typeface="Calibri"/>
                  <a:cs typeface="Times New Roman"/>
                </a:endParaRPr>
              </a:p>
            </p:txBody>
          </p:sp>
        </p:grpSp>
        <p:grpSp>
          <p:nvGrpSpPr>
            <p:cNvPr id="10" name="Skupina 9"/>
            <p:cNvGrpSpPr/>
            <p:nvPr/>
          </p:nvGrpSpPr>
          <p:grpSpPr>
            <a:xfrm>
              <a:off x="5372100" y="0"/>
              <a:ext cx="2085975" cy="752475"/>
              <a:chOff x="0" y="0"/>
              <a:chExt cx="2085975" cy="752475"/>
            </a:xfrm>
          </p:grpSpPr>
          <p:sp>
            <p:nvSpPr>
              <p:cNvPr id="14" name="Dvojitá šipka 13"/>
              <p:cNvSpPr/>
              <p:nvPr/>
            </p:nvSpPr>
            <p:spPr>
              <a:xfrm>
                <a:off x="0" y="0"/>
                <a:ext cx="2085975" cy="752475"/>
              </a:xfrm>
              <a:prstGeom prst="chevron">
                <a:avLst/>
              </a:prstGeom>
              <a:solidFill>
                <a:srgbClr val="FF0000">
                  <a:alpha val="60000"/>
                </a:srgbClr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cs-CZ"/>
              </a:p>
            </p:txBody>
          </p:sp>
          <p:sp>
            <p:nvSpPr>
              <p:cNvPr id="15" name="Textové pole 2"/>
              <p:cNvSpPr txBox="1">
                <a:spLocks noChangeArrowheads="1"/>
              </p:cNvSpPr>
              <p:nvPr/>
            </p:nvSpPr>
            <p:spPr bwMode="auto">
              <a:xfrm>
                <a:off x="676275" y="180788"/>
                <a:ext cx="572134" cy="5238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>
                  <a:lnSpc>
                    <a:spcPct val="115000"/>
                  </a:lnSpc>
                  <a:spcAft>
                    <a:spcPts val="1000"/>
                  </a:spcAft>
                </a:pPr>
                <a:r>
                  <a:rPr lang="cs-CZ" sz="1400">
                    <a:ln w="9208" cap="flat" cmpd="sng" algn="ctr">
                      <a:solidFill>
                        <a:srgbClr val="FFFFFF"/>
                      </a:solidFill>
                      <a:prstDash val="solid"/>
                      <a:round/>
                    </a:ln>
                    <a:solidFill>
                      <a:srgbClr val="FFFFFF"/>
                    </a:solidFill>
                    <a:effectLst>
                      <a:outerShdw blurRad="63500" dir="3600000" algn="tl">
                        <a:srgbClr val="000000">
                          <a:alpha val="70000"/>
                        </a:srgbClr>
                      </a:outerShdw>
                    </a:effectLst>
                    <a:latin typeface="Calibri"/>
                    <a:ea typeface="Calibri"/>
                    <a:cs typeface="Times New Roman"/>
                  </a:rPr>
                  <a:t>2011</a:t>
                </a:r>
                <a:endParaRPr lang="cs-CZ" sz="1100">
                  <a:effectLst/>
                  <a:latin typeface="Calibri"/>
                  <a:ea typeface="Calibri"/>
                  <a:cs typeface="Times New Roman"/>
                </a:endParaRPr>
              </a:p>
            </p:txBody>
          </p:sp>
        </p:grpSp>
        <p:grpSp>
          <p:nvGrpSpPr>
            <p:cNvPr id="11" name="Skupina 10"/>
            <p:cNvGrpSpPr/>
            <p:nvPr/>
          </p:nvGrpSpPr>
          <p:grpSpPr>
            <a:xfrm>
              <a:off x="7200900" y="0"/>
              <a:ext cx="2085975" cy="752475"/>
              <a:chOff x="0" y="0"/>
              <a:chExt cx="2085975" cy="752475"/>
            </a:xfrm>
          </p:grpSpPr>
          <p:sp>
            <p:nvSpPr>
              <p:cNvPr id="12" name="Dvojitá šipka 11"/>
              <p:cNvSpPr/>
              <p:nvPr/>
            </p:nvSpPr>
            <p:spPr>
              <a:xfrm>
                <a:off x="0" y="0"/>
                <a:ext cx="2085975" cy="752475"/>
              </a:xfrm>
              <a:prstGeom prst="chevron">
                <a:avLst/>
              </a:prstGeom>
              <a:solidFill>
                <a:srgbClr val="00B0F0">
                  <a:alpha val="60000"/>
                </a:srgbClr>
              </a:solidFill>
              <a:ln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cs-CZ"/>
              </a:p>
            </p:txBody>
          </p:sp>
          <p:sp>
            <p:nvSpPr>
              <p:cNvPr id="13" name="Textové pole 2"/>
              <p:cNvSpPr txBox="1">
                <a:spLocks noChangeArrowheads="1"/>
              </p:cNvSpPr>
              <p:nvPr/>
            </p:nvSpPr>
            <p:spPr bwMode="auto">
              <a:xfrm>
                <a:off x="676275" y="180788"/>
                <a:ext cx="572134" cy="5238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>
                  <a:lnSpc>
                    <a:spcPct val="115000"/>
                  </a:lnSpc>
                  <a:spcAft>
                    <a:spcPts val="1000"/>
                  </a:spcAft>
                </a:pPr>
                <a:r>
                  <a:rPr lang="cs-CZ" sz="1400">
                    <a:ln w="9208" cap="flat" cmpd="sng" algn="ctr">
                      <a:solidFill>
                        <a:srgbClr val="FFFFFF"/>
                      </a:solidFill>
                      <a:prstDash val="solid"/>
                      <a:round/>
                    </a:ln>
                    <a:solidFill>
                      <a:srgbClr val="FFFFFF"/>
                    </a:solidFill>
                    <a:effectLst>
                      <a:outerShdw blurRad="63500" dir="3600000" algn="tl">
                        <a:srgbClr val="000000">
                          <a:alpha val="70000"/>
                        </a:srgbClr>
                      </a:outerShdw>
                    </a:effectLst>
                    <a:latin typeface="Calibri"/>
                    <a:ea typeface="Calibri"/>
                    <a:cs typeface="Times New Roman"/>
                  </a:rPr>
                  <a:t>2017</a:t>
                </a:r>
                <a:endParaRPr lang="cs-CZ" sz="1100">
                  <a:effectLst/>
                  <a:latin typeface="Calibri"/>
                  <a:ea typeface="Calibri"/>
                  <a:cs typeface="Times New Roman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601919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344364" y="44624"/>
            <a:ext cx="6912956" cy="79208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Retirement age – pre 2008</a:t>
            </a:r>
          </a:p>
          <a:p>
            <a:r>
              <a:rPr lang="zh-CN" altLang="en-US" dirty="0" smtClean="0"/>
              <a:t>退休年龄</a:t>
            </a:r>
            <a:r>
              <a:rPr lang="en-US" altLang="zh-CN" dirty="0" smtClean="0"/>
              <a:t>-2008</a:t>
            </a:r>
            <a:r>
              <a:rPr lang="zh-CN" altLang="en-US" dirty="0" smtClean="0"/>
              <a:t>年以前</a:t>
            </a:r>
            <a:endParaRPr lang="en-US" dirty="0"/>
          </a:p>
        </p:txBody>
      </p:sp>
      <p:pic>
        <p:nvPicPr>
          <p:cNvPr id="1714180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3" y="1011238"/>
            <a:ext cx="6770687" cy="456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136176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Retirement age – </a:t>
            </a:r>
            <a:r>
              <a:rPr lang="cs-CZ" dirty="0" err="1" smtClean="0"/>
              <a:t>after</a:t>
            </a:r>
            <a:r>
              <a:rPr lang="en-US" dirty="0" smtClean="0"/>
              <a:t> 2008</a:t>
            </a:r>
          </a:p>
          <a:p>
            <a:r>
              <a:rPr lang="zh-CN" altLang="en-US" dirty="0" smtClean="0"/>
              <a:t>退休年龄</a:t>
            </a:r>
            <a:r>
              <a:rPr lang="en-US" altLang="zh-CN" dirty="0" smtClean="0"/>
              <a:t>-2008</a:t>
            </a:r>
            <a:r>
              <a:rPr lang="zh-CN" altLang="en-US" dirty="0" smtClean="0"/>
              <a:t>年以后</a:t>
            </a:r>
            <a:endParaRPr lang="en-US" dirty="0"/>
          </a:p>
        </p:txBody>
      </p:sp>
      <p:pic>
        <p:nvPicPr>
          <p:cNvPr id="171520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8450" y="1012825"/>
            <a:ext cx="6769100" cy="455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904864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Retirement age – </a:t>
            </a:r>
            <a:r>
              <a:rPr lang="cs-CZ" dirty="0" err="1" smtClean="0"/>
              <a:t>after</a:t>
            </a:r>
            <a:r>
              <a:rPr lang="en-US" dirty="0" smtClean="0"/>
              <a:t> 20</a:t>
            </a:r>
            <a:r>
              <a:rPr lang="cs-CZ" dirty="0" smtClean="0"/>
              <a:t>11</a:t>
            </a:r>
          </a:p>
          <a:p>
            <a:r>
              <a:rPr lang="zh-CN" altLang="en-US" dirty="0" smtClean="0"/>
              <a:t>退休年龄</a:t>
            </a:r>
            <a:r>
              <a:rPr lang="en-US" altLang="zh-CN" dirty="0" smtClean="0"/>
              <a:t>-2011</a:t>
            </a:r>
            <a:r>
              <a:rPr lang="zh-CN" altLang="en-US" dirty="0" smtClean="0"/>
              <a:t>年以后</a:t>
            </a:r>
            <a:endParaRPr lang="cs-CZ" dirty="0" smtClean="0"/>
          </a:p>
        </p:txBody>
      </p:sp>
      <p:pic>
        <p:nvPicPr>
          <p:cNvPr id="17162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3" y="1012825"/>
            <a:ext cx="6770687" cy="455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264343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Retirement age – </a:t>
            </a:r>
            <a:r>
              <a:rPr lang="cs-CZ" dirty="0" err="1" smtClean="0"/>
              <a:t>after</a:t>
            </a:r>
            <a:r>
              <a:rPr lang="en-US" dirty="0" smtClean="0"/>
              <a:t> 20</a:t>
            </a:r>
            <a:r>
              <a:rPr lang="cs-CZ" dirty="0" smtClean="0"/>
              <a:t>17</a:t>
            </a:r>
          </a:p>
          <a:p>
            <a:r>
              <a:rPr lang="zh-CN" altLang="en-US" dirty="0" smtClean="0"/>
              <a:t>退休年龄</a:t>
            </a:r>
            <a:r>
              <a:rPr lang="en-US" altLang="zh-CN" dirty="0" smtClean="0"/>
              <a:t>-2017</a:t>
            </a:r>
            <a:r>
              <a:rPr lang="zh-CN" altLang="en-US" dirty="0" smtClean="0"/>
              <a:t>年以后</a:t>
            </a:r>
            <a:endParaRPr lang="cs-CZ" dirty="0" smtClean="0"/>
          </a:p>
        </p:txBody>
      </p:sp>
      <p:pic>
        <p:nvPicPr>
          <p:cNvPr id="17172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8450" y="1012825"/>
            <a:ext cx="6769100" cy="455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091326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799301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Retirement age – </a:t>
            </a:r>
            <a:r>
              <a:rPr lang="cs-CZ" dirty="0" err="1" smtClean="0"/>
              <a:t>change</a:t>
            </a:r>
            <a:r>
              <a:rPr lang="cs-CZ" dirty="0" smtClean="0"/>
              <a:t> </a:t>
            </a:r>
            <a:r>
              <a:rPr lang="cs-CZ" dirty="0" err="1" smtClean="0"/>
              <a:t>between</a:t>
            </a:r>
            <a:r>
              <a:rPr lang="cs-CZ" dirty="0" smtClean="0"/>
              <a:t> 2008 and 2017</a:t>
            </a:r>
          </a:p>
          <a:p>
            <a:r>
              <a:rPr lang="zh-CN" altLang="en-US" dirty="0" smtClean="0"/>
              <a:t>退休年龄</a:t>
            </a:r>
            <a:r>
              <a:rPr lang="en-US" altLang="zh-CN" dirty="0" smtClean="0"/>
              <a:t>-2008</a:t>
            </a:r>
            <a:r>
              <a:rPr lang="zh-CN" altLang="en-US" dirty="0" smtClean="0"/>
              <a:t>至</a:t>
            </a:r>
            <a:r>
              <a:rPr lang="en-US" altLang="zh-CN" dirty="0" smtClean="0"/>
              <a:t>2017</a:t>
            </a:r>
            <a:r>
              <a:rPr lang="zh-CN" altLang="en-US" dirty="0" smtClean="0"/>
              <a:t>年间的变化</a:t>
            </a:r>
            <a:endParaRPr lang="cs-CZ" dirty="0" smtClean="0"/>
          </a:p>
        </p:txBody>
      </p:sp>
      <p:pic>
        <p:nvPicPr>
          <p:cNvPr id="17182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3" y="1012825"/>
            <a:ext cx="6770687" cy="455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950519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488" y="980728"/>
            <a:ext cx="9200197" cy="70173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arabicPeriod"/>
            </a:pP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riginally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minimum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exation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100 %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flation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1/3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al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age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rowth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ith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overnment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scretion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more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enerous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exation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cs-CZ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最初指数为</a:t>
            </a: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00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％的通货膨胀率和</a:t>
            </a: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/3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的实际工资增长率，政府自行决定更多的指数</a:t>
            </a:r>
            <a:endParaRPr lang="cs-CZ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arabicPeriod" startAt="2"/>
            </a:pP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 2011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overnment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scretion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as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moved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ules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ipuleted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rectly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ension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t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100 %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flation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+ 1/3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al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age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rowth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     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cs-CZ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</a:t>
            </a: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1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，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政府的自由裁量权被取消，并在养老金法案中直接规定（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00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％的通货膨胀率和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/3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的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实际工资增长率）</a:t>
            </a:r>
            <a:endParaRPr lang="cs-CZ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arabicPeriod" startAt="3"/>
            </a:pP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emporary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wered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exation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2013 and 2014 (1/3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flation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+ 1/3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al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age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rowth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 as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usterity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asure</a:t>
            </a:r>
            <a:endParaRPr lang="cs-CZ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cs-CZ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作为紧缩措施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，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3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和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4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暂时降低指数（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/3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通货膨胀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+ 1/3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实际工资增长）</a:t>
            </a:r>
            <a:endParaRPr lang="cs-CZ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 startAt="4"/>
            </a:pP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 </a:t>
            </a:r>
            <a:r>
              <a:rPr lang="cs-CZ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6 </a:t>
            </a:r>
            <a:r>
              <a:rPr lang="cs-CZ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</a:t>
            </a:r>
            <a:r>
              <a:rPr lang="cs-CZ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overnement</a:t>
            </a:r>
            <a:r>
              <a:rPr lang="cs-CZ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scretion</a:t>
            </a:r>
            <a:r>
              <a:rPr lang="cs-CZ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newed</a:t>
            </a:r>
            <a:r>
              <a:rPr lang="cs-CZ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ith</a:t>
            </a:r>
            <a:r>
              <a:rPr lang="cs-CZ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</a:t>
            </a:r>
            <a:r>
              <a:rPr lang="cs-CZ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pper</a:t>
            </a:r>
            <a:r>
              <a:rPr lang="cs-CZ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limit </a:t>
            </a:r>
            <a:r>
              <a:rPr lang="cs-CZ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2,7 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%</a:t>
            </a:r>
            <a:endParaRPr lang="cs-CZ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cs-CZ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6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，政府酌情更新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，将上限调整为</a:t>
            </a: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7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％</a:t>
            </a:r>
            <a:endParaRPr lang="cs-CZ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 startAt="5"/>
            </a:pP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ince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2017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exation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mula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hanged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100 %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flation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+ 1/2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al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age</a:t>
            </a:r>
            <a:r>
              <a:rPr lang="cs-CZ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rowth</a:t>
            </a:r>
            <a:endParaRPr lang="cs-CZ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自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7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以来，指数公式改为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00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％通货膨胀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+ 1/2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实际工资增长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	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80516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cs-CZ" dirty="0" smtClean="0"/>
              <a:t>Pension </a:t>
            </a:r>
            <a:r>
              <a:rPr lang="cs-CZ" dirty="0" err="1" smtClean="0"/>
              <a:t>indexation</a:t>
            </a:r>
            <a:r>
              <a:rPr lang="cs-CZ" dirty="0" smtClean="0"/>
              <a:t> </a:t>
            </a:r>
            <a:r>
              <a:rPr lang="cs-CZ" dirty="0" err="1" smtClean="0"/>
              <a:t>rules</a:t>
            </a:r>
            <a:endParaRPr lang="cs-CZ" dirty="0" smtClean="0"/>
          </a:p>
          <a:p>
            <a:r>
              <a:rPr lang="zh-CN" altLang="en-US" dirty="0" smtClean="0"/>
              <a:t>养老金指数化规则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5913140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488" y="1124744"/>
            <a:ext cx="9200197" cy="5878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hanged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2008    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cs-CZ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altLang="zh-CN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  </a:t>
            </a:r>
            <a:r>
              <a:rPr lang="en-US" altLang="zh-CN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08</a:t>
            </a: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发生更改</a:t>
            </a:r>
            <a:endParaRPr lang="cs-CZ" sz="12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arabicPeriod" startAt="2"/>
            </a:pP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mer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ystem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rtial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full disability   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cs-CZ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altLang="zh-CN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  </a:t>
            </a: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原有部分及完全伤残制度</a:t>
            </a:r>
            <a:endParaRPr lang="cs-CZ" sz="12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971550" lvl="1" indent="-51435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romanUcPeriod"/>
            </a:pP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duction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</a:t>
            </a:r>
            <a:r>
              <a:rPr lang="cs-CZ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pacity</a:t>
            </a:r>
            <a:r>
              <a:rPr lang="cs-CZ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y 33 % and 66 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%</a:t>
            </a:r>
          </a:p>
          <a:p>
            <a:pPr lvl="1"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工作能力降低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33%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和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66%</a:t>
            </a:r>
            <a:endParaRPr lang="cs-CZ" sz="12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971550" lvl="1" indent="-51435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romanUcPeriod" startAt="2"/>
            </a:pP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parate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s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– a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hange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disability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evel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led to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ew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pplication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ension and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ew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ranting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roces</a:t>
            </a:r>
            <a:r>
              <a:rPr lang="en-US" altLang="zh-CN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</a:t>
            </a:r>
          </a:p>
          <a:p>
            <a:pPr lvl="1"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单独的抚恤金</a:t>
            </a:r>
            <a:r>
              <a:rPr lang="zh-CN" altLang="zh-CN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—</a:t>
            </a: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残疾等级的变化导致养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老金和新发放程序</a:t>
            </a: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的新申请</a:t>
            </a:r>
            <a:endParaRPr lang="cs-CZ" sz="12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arabicPeriod" startAt="3"/>
            </a:pP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ew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ystem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ree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grees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disability    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cs-CZ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altLang="zh-CN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  </a:t>
            </a: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伤残情况分为三个等级的新制度</a:t>
            </a:r>
            <a:endParaRPr lang="cs-CZ" sz="12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971550" lvl="1" indent="-51435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romanUcPeriod"/>
            </a:pP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duction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</a:t>
            </a:r>
            <a:r>
              <a:rPr lang="cs-CZ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pacity</a:t>
            </a:r>
            <a:r>
              <a:rPr lang="cs-CZ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y 35 %, 50 % and 70 %</a:t>
            </a:r>
          </a:p>
          <a:p>
            <a:pPr lvl="1"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mr-I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工作能力下降35%、50%和70%</a:t>
            </a:r>
            <a:endParaRPr lang="cs-CZ" sz="12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971550" lvl="1" indent="-51435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romanUcPeriod" startAt="2"/>
            </a:pP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ly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e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disability pension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ists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–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grees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rely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termine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enefit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mount</a:t>
            </a:r>
            <a:endParaRPr lang="cs-CZ" sz="12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lvl="1"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只存在一种残障抚恤金</a:t>
            </a:r>
            <a:r>
              <a:rPr lang="zh-CN" altLang="zh-CN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—</a:t>
            </a:r>
            <a:r>
              <a:rPr lang="en-US" altLang="zh-CN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等级仅用于确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定福利金额</a:t>
            </a:r>
            <a:endParaRPr lang="cs-CZ" sz="12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arabicPeriod" startAt="4"/>
            </a:pP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ew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ules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pacity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duction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ssessment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ut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place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cs-CZ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   </a:t>
            </a: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评估工作能力下降与否的新规则已开始实行</a:t>
            </a:r>
            <a:endParaRPr lang="cs-CZ" sz="12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arabicPeriod" startAt="5"/>
            </a:pP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wo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argets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–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odernising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disability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s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urtailing</a:t>
            </a:r>
            <a:r>
              <a:rPr lang="cs-CZ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ension </a:t>
            </a:r>
            <a:r>
              <a:rPr lang="cs-CZ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penditure</a:t>
            </a:r>
            <a:endParaRPr lang="cs-CZ" sz="12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altLang="zh-CN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    </a:t>
            </a: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两个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目标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—</a:t>
            </a:r>
            <a:r>
              <a:rPr lang="en-US" altLang="zh-CN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—</a:t>
            </a:r>
            <a:r>
              <a:rPr lang="zh-CN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残障抚恤金现代化和削减抚恤金支出</a:t>
            </a:r>
            <a:endParaRPr lang="it-IT" sz="12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sz="12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sz="12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sz="1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sz="1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cs-CZ" dirty="0" smtClean="0"/>
              <a:t>Disability </a:t>
            </a:r>
            <a:r>
              <a:rPr lang="cs-CZ" dirty="0" err="1" smtClean="0"/>
              <a:t>pensions</a:t>
            </a:r>
            <a:r>
              <a:rPr lang="cs-CZ" dirty="0" smtClean="0"/>
              <a:t>   </a:t>
            </a:r>
            <a:r>
              <a:rPr lang="zh-CN" altLang="en-US" dirty="0" smtClean="0"/>
              <a:t>伤残抚恤金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7782663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604</TotalTime>
  <Words>1081</Words>
  <Application>Microsoft Macintosh PowerPoint</Application>
  <PresentationFormat>A4 纸张(210x297 毫米)</PresentationFormat>
  <Paragraphs>151</Paragraphs>
  <Slides>13</Slides>
  <Notes>1</Notes>
  <HiddenSlides>0</HiddenSlides>
  <MMClips>0</MMClips>
  <ScaleCrop>false</ScaleCrop>
  <HeadingPairs>
    <vt:vector size="8" baseType="variant">
      <vt:variant>
        <vt:lpstr>主题</vt:lpstr>
      </vt:variant>
      <vt:variant>
        <vt:i4>1</vt:i4>
      </vt:variant>
      <vt:variant>
        <vt:lpstr>嵌入的 OLE 服务器</vt:lpstr>
      </vt:variant>
      <vt:variant>
        <vt:i4>1</vt:i4>
      </vt:variant>
      <vt:variant>
        <vt:lpstr>幻灯片标题</vt:lpstr>
      </vt:variant>
      <vt:variant>
        <vt:i4>13</vt:i4>
      </vt:variant>
      <vt:variant>
        <vt:lpstr>自定义放映</vt:lpstr>
      </vt:variant>
      <vt:variant>
        <vt:i4>1</vt:i4>
      </vt:variant>
    </vt:vector>
  </HeadingPairs>
  <TitlesOfParts>
    <vt:vector size="16" baseType="lpstr">
      <vt:lpstr>SPRP_Correct Power Point Template v1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Custom Show 1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melon lee</cp:lastModifiedBy>
  <cp:revision>35</cp:revision>
  <cp:lastPrinted>2015-01-26T19:32:44Z</cp:lastPrinted>
  <dcterms:created xsi:type="dcterms:W3CDTF">2015-09-07T02:11:56Z</dcterms:created>
  <dcterms:modified xsi:type="dcterms:W3CDTF">2017-08-24T07:56:06Z</dcterms:modified>
</cp:coreProperties>
</file>